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6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E674B39-446F-EDC4-45EE-73333C860E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674B39-446F-EDC4-45EE-73333C860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09B5BA7-BCBB-BB66-4481-1FA18072D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lide title</a:t>
            </a:r>
          </a:p>
        </p:txBody>
      </p:sp>
      <p:sp>
        <p:nvSpPr>
          <p:cNvPr id="33" name="Google Shape;1997;p32">
            <a:extLst>
              <a:ext uri="{FF2B5EF4-FFF2-40B4-BE49-F238E27FC236}">
                <a16:creationId xmlns:a16="http://schemas.microsoft.com/office/drawing/2014/main" id="{724B62EA-8230-6F7D-3DF1-53C437FD93CE}"/>
              </a:ext>
            </a:extLst>
          </p:cNvPr>
          <p:cNvSpPr/>
          <p:nvPr/>
        </p:nvSpPr>
        <p:spPr>
          <a:xfrm>
            <a:off x="465019" y="898506"/>
            <a:ext cx="11261963" cy="5555294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600">
              <a:solidFill>
                <a:schemeClr val="lt1"/>
              </a:solidFill>
              <a:cs typeface="Arial"/>
              <a:sym typeface="Arial"/>
            </a:endParaRPr>
          </a:p>
        </p:txBody>
      </p:sp>
      <p:sp>
        <p:nvSpPr>
          <p:cNvPr id="34" name="Google Shape;1998;p32">
            <a:extLst>
              <a:ext uri="{FF2B5EF4-FFF2-40B4-BE49-F238E27FC236}">
                <a16:creationId xmlns:a16="http://schemas.microsoft.com/office/drawing/2014/main" id="{662B82F9-5A7A-1466-F39D-3CFD60A257C5}"/>
              </a:ext>
            </a:extLst>
          </p:cNvPr>
          <p:cNvSpPr txBox="1"/>
          <p:nvPr/>
        </p:nvSpPr>
        <p:spPr>
          <a:xfrm>
            <a:off x="661210" y="1027029"/>
            <a:ext cx="181147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1"/>
                </a:solidFill>
                <a:ea typeface="Arial"/>
                <a:cs typeface="Arial"/>
                <a:sym typeface="Arial"/>
              </a:rPr>
              <a:t>STRENGTHS</a:t>
            </a:r>
            <a:endParaRPr sz="1600" dirty="0"/>
          </a:p>
        </p:txBody>
      </p:sp>
      <p:sp>
        <p:nvSpPr>
          <p:cNvPr id="35" name="Google Shape;1999;p32">
            <a:extLst>
              <a:ext uri="{FF2B5EF4-FFF2-40B4-BE49-F238E27FC236}">
                <a16:creationId xmlns:a16="http://schemas.microsoft.com/office/drawing/2014/main" id="{61FD0118-5829-A4F1-AEAD-D11C4FF7B4B9}"/>
              </a:ext>
            </a:extLst>
          </p:cNvPr>
          <p:cNvSpPr txBox="1"/>
          <p:nvPr/>
        </p:nvSpPr>
        <p:spPr>
          <a:xfrm>
            <a:off x="9186471" y="1027029"/>
            <a:ext cx="23500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accent2"/>
                </a:solidFill>
                <a:ea typeface="Arial"/>
                <a:cs typeface="Arial"/>
                <a:sym typeface="Arial"/>
              </a:rPr>
              <a:t>WEAKNESSES</a:t>
            </a:r>
            <a:endParaRPr sz="1600" dirty="0"/>
          </a:p>
        </p:txBody>
      </p:sp>
      <p:sp>
        <p:nvSpPr>
          <p:cNvPr id="36" name="Google Shape;2000;p32">
            <a:extLst>
              <a:ext uri="{FF2B5EF4-FFF2-40B4-BE49-F238E27FC236}">
                <a16:creationId xmlns:a16="http://schemas.microsoft.com/office/drawing/2014/main" id="{CF6FF110-1A03-674A-8DFA-208D8B4ADA1C}"/>
              </a:ext>
            </a:extLst>
          </p:cNvPr>
          <p:cNvSpPr txBox="1"/>
          <p:nvPr/>
        </p:nvSpPr>
        <p:spPr>
          <a:xfrm>
            <a:off x="661210" y="3779567"/>
            <a:ext cx="1668774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i="0" u="none" strike="noStrike" dirty="0">
                <a:solidFill>
                  <a:schemeClr val="accent5"/>
                </a:solidFill>
                <a:ea typeface="Arial"/>
                <a:cs typeface="Arial"/>
                <a:sym typeface="Arial"/>
              </a:rPr>
              <a:t>THREATS</a:t>
            </a:r>
            <a:endParaRPr sz="1600" dirty="0">
              <a:solidFill>
                <a:schemeClr val="accent5"/>
              </a:solidFill>
            </a:endParaRPr>
          </a:p>
        </p:txBody>
      </p:sp>
      <p:sp>
        <p:nvSpPr>
          <p:cNvPr id="37" name="Google Shape;2001;p32">
            <a:extLst>
              <a:ext uri="{FF2B5EF4-FFF2-40B4-BE49-F238E27FC236}">
                <a16:creationId xmlns:a16="http://schemas.microsoft.com/office/drawing/2014/main" id="{B2E7EC60-5DF9-3BC8-CCCB-9DFFA5E948C6}"/>
              </a:ext>
            </a:extLst>
          </p:cNvPr>
          <p:cNvSpPr txBox="1"/>
          <p:nvPr/>
        </p:nvSpPr>
        <p:spPr>
          <a:xfrm>
            <a:off x="9039059" y="3779567"/>
            <a:ext cx="249745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i="0" u="none" strike="noStrike" dirty="0">
                <a:solidFill>
                  <a:schemeClr val="accent4"/>
                </a:solidFill>
                <a:ea typeface="Arial"/>
                <a:cs typeface="Arial"/>
                <a:sym typeface="Arial"/>
              </a:rPr>
              <a:t>OPPORTUNITIES</a:t>
            </a:r>
            <a:endParaRPr sz="1600" dirty="0">
              <a:solidFill>
                <a:schemeClr val="accent4"/>
              </a:solidFill>
            </a:endParaRPr>
          </a:p>
        </p:txBody>
      </p:sp>
      <p:sp>
        <p:nvSpPr>
          <p:cNvPr id="38" name="Google Shape;2002;p32">
            <a:extLst>
              <a:ext uri="{FF2B5EF4-FFF2-40B4-BE49-F238E27FC236}">
                <a16:creationId xmlns:a16="http://schemas.microsoft.com/office/drawing/2014/main" id="{78C7A8C0-7729-5A10-EB16-C820191A4DFE}"/>
              </a:ext>
            </a:extLst>
          </p:cNvPr>
          <p:cNvSpPr txBox="1"/>
          <p:nvPr/>
        </p:nvSpPr>
        <p:spPr>
          <a:xfrm>
            <a:off x="661210" y="140451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39" name="Google Shape;2003;p32">
            <a:extLst>
              <a:ext uri="{FF2B5EF4-FFF2-40B4-BE49-F238E27FC236}">
                <a16:creationId xmlns:a16="http://schemas.microsoft.com/office/drawing/2014/main" id="{A3045844-EA8C-40A9-2BD3-A641150213BD}"/>
              </a:ext>
            </a:extLst>
          </p:cNvPr>
          <p:cNvSpPr txBox="1"/>
          <p:nvPr/>
        </p:nvSpPr>
        <p:spPr>
          <a:xfrm>
            <a:off x="9810122" y="140451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40" name="Google Shape;2004;p32">
            <a:extLst>
              <a:ext uri="{FF2B5EF4-FFF2-40B4-BE49-F238E27FC236}">
                <a16:creationId xmlns:a16="http://schemas.microsoft.com/office/drawing/2014/main" id="{52F0BBB0-AE41-3B66-B8BC-F7AAA6163517}"/>
              </a:ext>
            </a:extLst>
          </p:cNvPr>
          <p:cNvSpPr txBox="1"/>
          <p:nvPr/>
        </p:nvSpPr>
        <p:spPr>
          <a:xfrm>
            <a:off x="661210" y="414908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sp>
        <p:nvSpPr>
          <p:cNvPr id="41" name="Google Shape;2005;p32">
            <a:extLst>
              <a:ext uri="{FF2B5EF4-FFF2-40B4-BE49-F238E27FC236}">
                <a16:creationId xmlns:a16="http://schemas.microsoft.com/office/drawing/2014/main" id="{596ADA7A-8B32-DE76-7114-66BAD5EE4E6E}"/>
              </a:ext>
            </a:extLst>
          </p:cNvPr>
          <p:cNvSpPr txBox="1"/>
          <p:nvPr/>
        </p:nvSpPr>
        <p:spPr>
          <a:xfrm>
            <a:off x="9810122" y="4149086"/>
            <a:ext cx="172639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ea typeface="Arial"/>
                <a:cs typeface="Arial"/>
                <a:sym typeface="Arial"/>
              </a:rPr>
              <a:t>Insert Text Here</a:t>
            </a:r>
            <a:endParaRPr sz="1600"/>
          </a:p>
        </p:txBody>
      </p:sp>
      <p:grpSp>
        <p:nvGrpSpPr>
          <p:cNvPr id="42" name="Google Shape;2006;p32">
            <a:extLst>
              <a:ext uri="{FF2B5EF4-FFF2-40B4-BE49-F238E27FC236}">
                <a16:creationId xmlns:a16="http://schemas.microsoft.com/office/drawing/2014/main" id="{B8789C8D-D51A-65BF-7C35-6AD497505021}"/>
              </a:ext>
            </a:extLst>
          </p:cNvPr>
          <p:cNvGrpSpPr/>
          <p:nvPr/>
        </p:nvGrpSpPr>
        <p:grpSpPr>
          <a:xfrm>
            <a:off x="4231033" y="1811187"/>
            <a:ext cx="3729935" cy="3729932"/>
            <a:chOff x="4643972" y="2423519"/>
            <a:chExt cx="2604324" cy="2604325"/>
          </a:xfrm>
        </p:grpSpPr>
        <p:sp>
          <p:nvSpPr>
            <p:cNvPr id="52" name="Google Shape;2007;p32">
              <a:extLst>
                <a:ext uri="{FF2B5EF4-FFF2-40B4-BE49-F238E27FC236}">
                  <a16:creationId xmlns:a16="http://schemas.microsoft.com/office/drawing/2014/main" id="{D9279E51-E73F-56CF-F771-694A7646D2B7}"/>
                </a:ext>
              </a:extLst>
            </p:cNvPr>
            <p:cNvSpPr/>
            <p:nvPr/>
          </p:nvSpPr>
          <p:spPr>
            <a:xfrm>
              <a:off x="5946134" y="3725682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0" y="0"/>
                  </a:moveTo>
                  <a:lnTo>
                    <a:pt x="0" y="1302163"/>
                  </a:lnTo>
                  <a:cubicBezTo>
                    <a:pt x="719138" y="1302163"/>
                    <a:pt x="1302163" y="719233"/>
                    <a:pt x="130216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Google Shape;2008;p32">
              <a:extLst>
                <a:ext uri="{FF2B5EF4-FFF2-40B4-BE49-F238E27FC236}">
                  <a16:creationId xmlns:a16="http://schemas.microsoft.com/office/drawing/2014/main" id="{60C1971C-DA90-A091-9ECA-E0637D8013A0}"/>
                </a:ext>
              </a:extLst>
            </p:cNvPr>
            <p:cNvSpPr/>
            <p:nvPr/>
          </p:nvSpPr>
          <p:spPr>
            <a:xfrm>
              <a:off x="4643972" y="3725682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0" y="0"/>
                  </a:moveTo>
                  <a:cubicBezTo>
                    <a:pt x="0" y="719138"/>
                    <a:pt x="583025" y="1302163"/>
                    <a:pt x="1302163" y="1302163"/>
                  </a:cubicBezTo>
                  <a:lnTo>
                    <a:pt x="130216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2009;p32">
              <a:extLst>
                <a:ext uri="{FF2B5EF4-FFF2-40B4-BE49-F238E27FC236}">
                  <a16:creationId xmlns:a16="http://schemas.microsoft.com/office/drawing/2014/main" id="{321B48B5-68E2-EB8B-6AE6-F4AF5B3EC249}"/>
                </a:ext>
              </a:extLst>
            </p:cNvPr>
            <p:cNvSpPr/>
            <p:nvPr/>
          </p:nvSpPr>
          <p:spPr>
            <a:xfrm>
              <a:off x="5946039" y="2423519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1302163" y="1302163"/>
                  </a:moveTo>
                  <a:cubicBezTo>
                    <a:pt x="1302163" y="583025"/>
                    <a:pt x="719138" y="0"/>
                    <a:pt x="0" y="0"/>
                  </a:cubicBezTo>
                  <a:lnTo>
                    <a:pt x="0" y="1302163"/>
                  </a:lnTo>
                  <a:lnTo>
                    <a:pt x="1302163" y="130216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55" name="Google Shape;2010;p32">
              <a:extLst>
                <a:ext uri="{FF2B5EF4-FFF2-40B4-BE49-F238E27FC236}">
                  <a16:creationId xmlns:a16="http://schemas.microsoft.com/office/drawing/2014/main" id="{98CD4DD6-FFB3-C15B-A852-E80FD0344A77}"/>
                </a:ext>
              </a:extLst>
            </p:cNvPr>
            <p:cNvSpPr/>
            <p:nvPr/>
          </p:nvSpPr>
          <p:spPr>
            <a:xfrm>
              <a:off x="4643972" y="2423519"/>
              <a:ext cx="1302162" cy="1302162"/>
            </a:xfrm>
            <a:custGeom>
              <a:avLst/>
              <a:gdLst/>
              <a:ahLst/>
              <a:cxnLst/>
              <a:rect l="l" t="t" r="r" b="b"/>
              <a:pathLst>
                <a:path w="1302162" h="1302162" extrusionOk="0">
                  <a:moveTo>
                    <a:pt x="1302163" y="0"/>
                  </a:moveTo>
                  <a:cubicBezTo>
                    <a:pt x="583025" y="0"/>
                    <a:pt x="0" y="583025"/>
                    <a:pt x="0" y="1302163"/>
                  </a:cubicBezTo>
                  <a:lnTo>
                    <a:pt x="1302163" y="1302163"/>
                  </a:lnTo>
                  <a:lnTo>
                    <a:pt x="130216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3" name="Google Shape;2011;p32">
            <a:extLst>
              <a:ext uri="{FF2B5EF4-FFF2-40B4-BE49-F238E27FC236}">
                <a16:creationId xmlns:a16="http://schemas.microsoft.com/office/drawing/2014/main" id="{592808F6-8151-EE7C-477B-2343FF3FE842}"/>
              </a:ext>
            </a:extLst>
          </p:cNvPr>
          <p:cNvSpPr/>
          <p:nvPr/>
        </p:nvSpPr>
        <p:spPr>
          <a:xfrm>
            <a:off x="4856235" y="2436389"/>
            <a:ext cx="2479393" cy="2479391"/>
          </a:xfrm>
          <a:custGeom>
            <a:avLst/>
            <a:gdLst/>
            <a:ahLst/>
            <a:cxnLst/>
            <a:rect l="l" t="t" r="r" b="b"/>
            <a:pathLst>
              <a:path w="1731168" h="1731168" extrusionOk="0">
                <a:moveTo>
                  <a:pt x="865537" y="1731169"/>
                </a:moveTo>
                <a:cubicBezTo>
                  <a:pt x="1343597" y="1731169"/>
                  <a:pt x="1731169" y="1343692"/>
                  <a:pt x="1731169" y="865632"/>
                </a:cubicBezTo>
                <a:cubicBezTo>
                  <a:pt x="1731169" y="387667"/>
                  <a:pt x="1343597" y="0"/>
                  <a:pt x="865537" y="0"/>
                </a:cubicBezTo>
                <a:cubicBezTo>
                  <a:pt x="387477" y="0"/>
                  <a:pt x="0" y="387572"/>
                  <a:pt x="0" y="865632"/>
                </a:cubicBezTo>
                <a:cubicBezTo>
                  <a:pt x="0" y="1343692"/>
                  <a:pt x="387477" y="1731169"/>
                  <a:pt x="865537" y="173116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ea typeface="Arial"/>
                <a:cs typeface="Arial"/>
                <a:sym typeface="Arial"/>
              </a:rPr>
              <a:t>SWOT</a:t>
            </a:r>
            <a:endParaRPr sz="32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4" name="Google Shape;2012;p32">
            <a:extLst>
              <a:ext uri="{FF2B5EF4-FFF2-40B4-BE49-F238E27FC236}">
                <a16:creationId xmlns:a16="http://schemas.microsoft.com/office/drawing/2014/main" id="{E2C90B5F-1985-A730-DF71-7EDCC8425422}"/>
              </a:ext>
            </a:extLst>
          </p:cNvPr>
          <p:cNvSpPr/>
          <p:nvPr/>
        </p:nvSpPr>
        <p:spPr>
          <a:xfrm>
            <a:off x="4874242" y="4612933"/>
            <a:ext cx="215949" cy="272698"/>
          </a:xfrm>
          <a:custGeom>
            <a:avLst/>
            <a:gdLst/>
            <a:ahLst/>
            <a:cxnLst/>
            <a:rect l="l" t="t" r="r" b="b"/>
            <a:pathLst>
              <a:path w="150780" h="190404" extrusionOk="0">
                <a:moveTo>
                  <a:pt x="150781" y="31718"/>
                </a:moveTo>
                <a:lnTo>
                  <a:pt x="95155" y="31718"/>
                </a:lnTo>
                <a:lnTo>
                  <a:pt x="95155" y="190405"/>
                </a:lnTo>
                <a:lnTo>
                  <a:pt x="55626" y="190405"/>
                </a:lnTo>
                <a:lnTo>
                  <a:pt x="55626" y="31718"/>
                </a:lnTo>
                <a:lnTo>
                  <a:pt x="0" y="31718"/>
                </a:lnTo>
                <a:lnTo>
                  <a:pt x="0" y="0"/>
                </a:lnTo>
                <a:lnTo>
                  <a:pt x="150781" y="0"/>
                </a:lnTo>
                <a:lnTo>
                  <a:pt x="150781" y="3171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5" name="Google Shape;2013;p32">
            <a:extLst>
              <a:ext uri="{FF2B5EF4-FFF2-40B4-BE49-F238E27FC236}">
                <a16:creationId xmlns:a16="http://schemas.microsoft.com/office/drawing/2014/main" id="{060C9A7A-9B29-6EDF-8407-79B83B2F3309}"/>
              </a:ext>
            </a:extLst>
          </p:cNvPr>
          <p:cNvSpPr/>
          <p:nvPr/>
        </p:nvSpPr>
        <p:spPr>
          <a:xfrm>
            <a:off x="7046696" y="4633396"/>
            <a:ext cx="279656" cy="278701"/>
          </a:xfrm>
          <a:custGeom>
            <a:avLst/>
            <a:gdLst/>
            <a:ahLst/>
            <a:cxnLst/>
            <a:rect l="l" t="t" r="r" b="b"/>
            <a:pathLst>
              <a:path w="195262" h="194595" extrusionOk="0">
                <a:moveTo>
                  <a:pt x="195263" y="97250"/>
                </a:moveTo>
                <a:cubicBezTo>
                  <a:pt x="195263" y="111157"/>
                  <a:pt x="192881" y="124111"/>
                  <a:pt x="188214" y="135922"/>
                </a:cubicBezTo>
                <a:cubicBezTo>
                  <a:pt x="183547" y="147828"/>
                  <a:pt x="176975" y="158115"/>
                  <a:pt x="168402" y="166783"/>
                </a:cubicBezTo>
                <a:cubicBezTo>
                  <a:pt x="159829" y="175450"/>
                  <a:pt x="149638" y="182213"/>
                  <a:pt x="137636" y="187166"/>
                </a:cubicBezTo>
                <a:cubicBezTo>
                  <a:pt x="125635" y="192119"/>
                  <a:pt x="112395" y="194596"/>
                  <a:pt x="97727" y="194596"/>
                </a:cubicBezTo>
                <a:cubicBezTo>
                  <a:pt x="83153" y="194596"/>
                  <a:pt x="69818" y="192119"/>
                  <a:pt x="57817" y="187166"/>
                </a:cubicBezTo>
                <a:cubicBezTo>
                  <a:pt x="45815" y="182213"/>
                  <a:pt x="35528" y="175450"/>
                  <a:pt x="26956" y="166783"/>
                </a:cubicBezTo>
                <a:cubicBezTo>
                  <a:pt x="18383" y="158115"/>
                  <a:pt x="11716" y="147828"/>
                  <a:pt x="7048" y="135922"/>
                </a:cubicBezTo>
                <a:cubicBezTo>
                  <a:pt x="2381" y="124015"/>
                  <a:pt x="0" y="111157"/>
                  <a:pt x="0" y="97250"/>
                </a:cubicBezTo>
                <a:cubicBezTo>
                  <a:pt x="0" y="83344"/>
                  <a:pt x="2381" y="70485"/>
                  <a:pt x="7048" y="58579"/>
                </a:cubicBezTo>
                <a:cubicBezTo>
                  <a:pt x="11716" y="46768"/>
                  <a:pt x="18383" y="36481"/>
                  <a:pt x="26956" y="27813"/>
                </a:cubicBezTo>
                <a:cubicBezTo>
                  <a:pt x="35528" y="19145"/>
                  <a:pt x="45815" y="12382"/>
                  <a:pt x="57817" y="7429"/>
                </a:cubicBezTo>
                <a:cubicBezTo>
                  <a:pt x="69818" y="2476"/>
                  <a:pt x="83058" y="0"/>
                  <a:pt x="97727" y="0"/>
                </a:cubicBezTo>
                <a:cubicBezTo>
                  <a:pt x="112300" y="0"/>
                  <a:pt x="125635" y="2476"/>
                  <a:pt x="137636" y="7429"/>
                </a:cubicBezTo>
                <a:cubicBezTo>
                  <a:pt x="149638" y="12382"/>
                  <a:pt x="159829" y="19240"/>
                  <a:pt x="168402" y="27908"/>
                </a:cubicBezTo>
                <a:cubicBezTo>
                  <a:pt x="176975" y="36576"/>
                  <a:pt x="183547" y="46863"/>
                  <a:pt x="188214" y="58769"/>
                </a:cubicBezTo>
                <a:cubicBezTo>
                  <a:pt x="192881" y="70580"/>
                  <a:pt x="195263" y="83439"/>
                  <a:pt x="195263" y="97250"/>
                </a:cubicBezTo>
                <a:close/>
                <a:moveTo>
                  <a:pt x="154972" y="97250"/>
                </a:moveTo>
                <a:cubicBezTo>
                  <a:pt x="154972" y="87249"/>
                  <a:pt x="153638" y="78296"/>
                  <a:pt x="151066" y="70390"/>
                </a:cubicBezTo>
                <a:cubicBezTo>
                  <a:pt x="148400" y="62484"/>
                  <a:pt x="144685" y="55721"/>
                  <a:pt x="139732" y="50197"/>
                </a:cubicBezTo>
                <a:cubicBezTo>
                  <a:pt x="134779" y="44672"/>
                  <a:pt x="128778" y="40386"/>
                  <a:pt x="121729" y="37433"/>
                </a:cubicBezTo>
                <a:cubicBezTo>
                  <a:pt x="114681" y="34480"/>
                  <a:pt x="106680" y="33052"/>
                  <a:pt x="97822" y="33052"/>
                </a:cubicBezTo>
                <a:cubicBezTo>
                  <a:pt x="88868" y="33052"/>
                  <a:pt x="80867" y="34480"/>
                  <a:pt x="73819" y="37433"/>
                </a:cubicBezTo>
                <a:cubicBezTo>
                  <a:pt x="66770" y="40386"/>
                  <a:pt x="60674" y="44577"/>
                  <a:pt x="55816" y="50197"/>
                </a:cubicBezTo>
                <a:cubicBezTo>
                  <a:pt x="50864" y="55721"/>
                  <a:pt x="47054" y="62484"/>
                  <a:pt x="44482" y="70390"/>
                </a:cubicBezTo>
                <a:cubicBezTo>
                  <a:pt x="41815" y="78296"/>
                  <a:pt x="40577" y="87249"/>
                  <a:pt x="40577" y="97250"/>
                </a:cubicBezTo>
                <a:cubicBezTo>
                  <a:pt x="40577" y="107347"/>
                  <a:pt x="41910" y="116300"/>
                  <a:pt x="44482" y="124206"/>
                </a:cubicBezTo>
                <a:cubicBezTo>
                  <a:pt x="47149" y="132112"/>
                  <a:pt x="50864" y="138874"/>
                  <a:pt x="55816" y="144399"/>
                </a:cubicBezTo>
                <a:cubicBezTo>
                  <a:pt x="60770" y="149923"/>
                  <a:pt x="66770" y="154114"/>
                  <a:pt x="73819" y="157067"/>
                </a:cubicBezTo>
                <a:cubicBezTo>
                  <a:pt x="80867" y="160020"/>
                  <a:pt x="88868" y="161449"/>
                  <a:pt x="97822" y="161449"/>
                </a:cubicBezTo>
                <a:cubicBezTo>
                  <a:pt x="106775" y="161449"/>
                  <a:pt x="114681" y="160020"/>
                  <a:pt x="121729" y="157067"/>
                </a:cubicBezTo>
                <a:cubicBezTo>
                  <a:pt x="128778" y="154114"/>
                  <a:pt x="134779" y="149923"/>
                  <a:pt x="139732" y="144399"/>
                </a:cubicBezTo>
                <a:cubicBezTo>
                  <a:pt x="144685" y="138874"/>
                  <a:pt x="148495" y="132207"/>
                  <a:pt x="151066" y="124206"/>
                </a:cubicBezTo>
                <a:cubicBezTo>
                  <a:pt x="153638" y="116300"/>
                  <a:pt x="154972" y="107347"/>
                  <a:pt x="154972" y="972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Google Shape;2014;p32">
            <a:extLst>
              <a:ext uri="{FF2B5EF4-FFF2-40B4-BE49-F238E27FC236}">
                <a16:creationId xmlns:a16="http://schemas.microsoft.com/office/drawing/2014/main" id="{3DD24720-FF1C-34D5-284F-33C0E40966E9}"/>
              </a:ext>
            </a:extLst>
          </p:cNvPr>
          <p:cNvSpPr/>
          <p:nvPr/>
        </p:nvSpPr>
        <p:spPr>
          <a:xfrm>
            <a:off x="7004952" y="2462445"/>
            <a:ext cx="393292" cy="272971"/>
          </a:xfrm>
          <a:custGeom>
            <a:avLst/>
            <a:gdLst/>
            <a:ahLst/>
            <a:cxnLst/>
            <a:rect l="l" t="t" r="r" b="b"/>
            <a:pathLst>
              <a:path w="274605" h="190595" extrusionOk="0">
                <a:moveTo>
                  <a:pt x="274606" y="190"/>
                </a:moveTo>
                <a:lnTo>
                  <a:pt x="215551" y="190595"/>
                </a:lnTo>
                <a:lnTo>
                  <a:pt x="180023" y="190595"/>
                </a:lnTo>
                <a:lnTo>
                  <a:pt x="141065" y="66103"/>
                </a:lnTo>
                <a:cubicBezTo>
                  <a:pt x="140494" y="64389"/>
                  <a:pt x="139827" y="62389"/>
                  <a:pt x="139255" y="60293"/>
                </a:cubicBezTo>
                <a:cubicBezTo>
                  <a:pt x="138684" y="58198"/>
                  <a:pt x="138113" y="56007"/>
                  <a:pt x="137541" y="53626"/>
                </a:cubicBezTo>
                <a:cubicBezTo>
                  <a:pt x="136970" y="56007"/>
                  <a:pt x="136398" y="58198"/>
                  <a:pt x="135827" y="60293"/>
                </a:cubicBezTo>
                <a:cubicBezTo>
                  <a:pt x="135255" y="62389"/>
                  <a:pt x="134588" y="64294"/>
                  <a:pt x="134017" y="66103"/>
                </a:cubicBezTo>
                <a:lnTo>
                  <a:pt x="94679" y="190595"/>
                </a:lnTo>
                <a:lnTo>
                  <a:pt x="58960" y="190595"/>
                </a:lnTo>
                <a:lnTo>
                  <a:pt x="0" y="190"/>
                </a:lnTo>
                <a:lnTo>
                  <a:pt x="33051" y="190"/>
                </a:lnTo>
                <a:cubicBezTo>
                  <a:pt x="36481" y="190"/>
                  <a:pt x="39338" y="952"/>
                  <a:pt x="41624" y="2572"/>
                </a:cubicBezTo>
                <a:cubicBezTo>
                  <a:pt x="43910" y="4191"/>
                  <a:pt x="45434" y="6286"/>
                  <a:pt x="46196" y="8858"/>
                </a:cubicBezTo>
                <a:lnTo>
                  <a:pt x="75724" y="116205"/>
                </a:lnTo>
                <a:cubicBezTo>
                  <a:pt x="76391" y="119158"/>
                  <a:pt x="77152" y="122396"/>
                  <a:pt x="77914" y="125825"/>
                </a:cubicBezTo>
                <a:cubicBezTo>
                  <a:pt x="78677" y="129254"/>
                  <a:pt x="79343" y="132969"/>
                  <a:pt x="80105" y="136779"/>
                </a:cubicBezTo>
                <a:cubicBezTo>
                  <a:pt x="80867" y="132874"/>
                  <a:pt x="81725" y="129159"/>
                  <a:pt x="82582" y="125730"/>
                </a:cubicBezTo>
                <a:cubicBezTo>
                  <a:pt x="83439" y="122301"/>
                  <a:pt x="84391" y="119158"/>
                  <a:pt x="85439" y="116110"/>
                </a:cubicBezTo>
                <a:lnTo>
                  <a:pt x="119825" y="8763"/>
                </a:lnTo>
                <a:cubicBezTo>
                  <a:pt x="120491" y="6572"/>
                  <a:pt x="122015" y="4572"/>
                  <a:pt x="124396" y="2762"/>
                </a:cubicBezTo>
                <a:cubicBezTo>
                  <a:pt x="126682" y="952"/>
                  <a:pt x="129540" y="95"/>
                  <a:pt x="132874" y="95"/>
                </a:cubicBezTo>
                <a:lnTo>
                  <a:pt x="144399" y="95"/>
                </a:lnTo>
                <a:cubicBezTo>
                  <a:pt x="147828" y="95"/>
                  <a:pt x="150590" y="952"/>
                  <a:pt x="152781" y="2476"/>
                </a:cubicBezTo>
                <a:cubicBezTo>
                  <a:pt x="154877" y="4096"/>
                  <a:pt x="156496" y="6191"/>
                  <a:pt x="157543" y="8668"/>
                </a:cubicBezTo>
                <a:lnTo>
                  <a:pt x="191834" y="116014"/>
                </a:lnTo>
                <a:cubicBezTo>
                  <a:pt x="192881" y="118777"/>
                  <a:pt x="193834" y="121825"/>
                  <a:pt x="194691" y="125158"/>
                </a:cubicBezTo>
                <a:cubicBezTo>
                  <a:pt x="195548" y="128397"/>
                  <a:pt x="196405" y="131921"/>
                  <a:pt x="197168" y="135636"/>
                </a:cubicBezTo>
                <a:cubicBezTo>
                  <a:pt x="197834" y="131921"/>
                  <a:pt x="198501" y="128492"/>
                  <a:pt x="199168" y="125158"/>
                </a:cubicBezTo>
                <a:cubicBezTo>
                  <a:pt x="199834" y="121920"/>
                  <a:pt x="200501" y="118872"/>
                  <a:pt x="201168" y="116014"/>
                </a:cubicBezTo>
                <a:lnTo>
                  <a:pt x="230695" y="8668"/>
                </a:lnTo>
                <a:cubicBezTo>
                  <a:pt x="231267" y="6382"/>
                  <a:pt x="232791" y="4381"/>
                  <a:pt x="235172" y="2667"/>
                </a:cubicBezTo>
                <a:cubicBezTo>
                  <a:pt x="237554" y="952"/>
                  <a:pt x="240411" y="0"/>
                  <a:pt x="243744" y="0"/>
                </a:cubicBezTo>
                <a:lnTo>
                  <a:pt x="27460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7" name="Google Shape;2015;p32">
            <a:extLst>
              <a:ext uri="{FF2B5EF4-FFF2-40B4-BE49-F238E27FC236}">
                <a16:creationId xmlns:a16="http://schemas.microsoft.com/office/drawing/2014/main" id="{8069821D-7DAA-3C9A-D6D8-2FBB192C4819}"/>
              </a:ext>
            </a:extLst>
          </p:cNvPr>
          <p:cNvSpPr/>
          <p:nvPr/>
        </p:nvSpPr>
        <p:spPr>
          <a:xfrm>
            <a:off x="4903844" y="2460262"/>
            <a:ext cx="187574" cy="278564"/>
          </a:xfrm>
          <a:custGeom>
            <a:avLst/>
            <a:gdLst/>
            <a:ahLst/>
            <a:cxnLst/>
            <a:rect l="l" t="t" r="r" b="b"/>
            <a:pathLst>
              <a:path w="130968" h="194500" extrusionOk="0">
                <a:moveTo>
                  <a:pt x="118205" y="38195"/>
                </a:moveTo>
                <a:cubicBezTo>
                  <a:pt x="116967" y="40196"/>
                  <a:pt x="115729" y="41719"/>
                  <a:pt x="114491" y="42577"/>
                </a:cubicBezTo>
                <a:cubicBezTo>
                  <a:pt x="113252" y="43529"/>
                  <a:pt x="111538" y="44005"/>
                  <a:pt x="109538" y="44005"/>
                </a:cubicBezTo>
                <a:cubicBezTo>
                  <a:pt x="107633" y="44005"/>
                  <a:pt x="105537" y="43339"/>
                  <a:pt x="103346" y="42005"/>
                </a:cubicBezTo>
                <a:cubicBezTo>
                  <a:pt x="101156" y="40672"/>
                  <a:pt x="98489" y="39148"/>
                  <a:pt x="95536" y="37624"/>
                </a:cubicBezTo>
                <a:cubicBezTo>
                  <a:pt x="92583" y="36004"/>
                  <a:pt x="89154" y="34576"/>
                  <a:pt x="85344" y="33242"/>
                </a:cubicBezTo>
                <a:cubicBezTo>
                  <a:pt x="81534" y="31909"/>
                  <a:pt x="76962" y="31242"/>
                  <a:pt x="71819" y="31242"/>
                </a:cubicBezTo>
                <a:cubicBezTo>
                  <a:pt x="62675" y="31242"/>
                  <a:pt x="55912" y="33242"/>
                  <a:pt x="51340" y="37338"/>
                </a:cubicBezTo>
                <a:cubicBezTo>
                  <a:pt x="46768" y="41434"/>
                  <a:pt x="44482" y="46672"/>
                  <a:pt x="44482" y="53245"/>
                </a:cubicBezTo>
                <a:cubicBezTo>
                  <a:pt x="44482" y="57436"/>
                  <a:pt x="45720" y="60960"/>
                  <a:pt x="48197" y="63722"/>
                </a:cubicBezTo>
                <a:cubicBezTo>
                  <a:pt x="50673" y="66484"/>
                  <a:pt x="54007" y="68866"/>
                  <a:pt x="58008" y="70866"/>
                </a:cubicBezTo>
                <a:cubicBezTo>
                  <a:pt x="62103" y="72866"/>
                  <a:pt x="66675" y="74676"/>
                  <a:pt x="71819" y="76295"/>
                </a:cubicBezTo>
                <a:cubicBezTo>
                  <a:pt x="76962" y="77914"/>
                  <a:pt x="82296" y="79629"/>
                  <a:pt x="87725" y="81439"/>
                </a:cubicBezTo>
                <a:cubicBezTo>
                  <a:pt x="93155" y="83344"/>
                  <a:pt x="98393" y="85534"/>
                  <a:pt x="103632" y="88106"/>
                </a:cubicBezTo>
                <a:cubicBezTo>
                  <a:pt x="108776" y="90678"/>
                  <a:pt x="113443" y="93821"/>
                  <a:pt x="117443" y="97726"/>
                </a:cubicBezTo>
                <a:cubicBezTo>
                  <a:pt x="121539" y="101537"/>
                  <a:pt x="124778" y="106299"/>
                  <a:pt x="127254" y="111823"/>
                </a:cubicBezTo>
                <a:cubicBezTo>
                  <a:pt x="129731" y="117348"/>
                  <a:pt x="130969" y="124111"/>
                  <a:pt x="130969" y="132112"/>
                </a:cubicBezTo>
                <a:cubicBezTo>
                  <a:pt x="130969" y="140779"/>
                  <a:pt x="129445" y="148876"/>
                  <a:pt x="126397" y="156496"/>
                </a:cubicBezTo>
                <a:cubicBezTo>
                  <a:pt x="123349" y="164021"/>
                  <a:pt x="119063" y="170688"/>
                  <a:pt x="113348" y="176308"/>
                </a:cubicBezTo>
                <a:cubicBezTo>
                  <a:pt x="107633" y="181927"/>
                  <a:pt x="100679" y="186404"/>
                  <a:pt x="92297" y="189643"/>
                </a:cubicBezTo>
                <a:cubicBezTo>
                  <a:pt x="83916" y="192881"/>
                  <a:pt x="74486" y="194500"/>
                  <a:pt x="63913" y="194500"/>
                </a:cubicBezTo>
                <a:cubicBezTo>
                  <a:pt x="57912" y="194500"/>
                  <a:pt x="51816" y="193929"/>
                  <a:pt x="45911" y="192691"/>
                </a:cubicBezTo>
                <a:cubicBezTo>
                  <a:pt x="39910" y="191452"/>
                  <a:pt x="34100" y="189738"/>
                  <a:pt x="28575" y="187547"/>
                </a:cubicBezTo>
                <a:cubicBezTo>
                  <a:pt x="23051" y="185356"/>
                  <a:pt x="17812" y="182785"/>
                  <a:pt x="12859" y="179642"/>
                </a:cubicBezTo>
                <a:cubicBezTo>
                  <a:pt x="8001" y="176593"/>
                  <a:pt x="3715" y="173164"/>
                  <a:pt x="0" y="169450"/>
                </a:cubicBezTo>
                <a:lnTo>
                  <a:pt x="11525" y="150781"/>
                </a:lnTo>
                <a:cubicBezTo>
                  <a:pt x="12478" y="149352"/>
                  <a:pt x="13716" y="148209"/>
                  <a:pt x="15335" y="147256"/>
                </a:cubicBezTo>
                <a:cubicBezTo>
                  <a:pt x="16955" y="146304"/>
                  <a:pt x="18574" y="145923"/>
                  <a:pt x="20288" y="145923"/>
                </a:cubicBezTo>
                <a:cubicBezTo>
                  <a:pt x="22670" y="145923"/>
                  <a:pt x="25146" y="146780"/>
                  <a:pt x="27813" y="148590"/>
                </a:cubicBezTo>
                <a:cubicBezTo>
                  <a:pt x="30480" y="150304"/>
                  <a:pt x="33433" y="152305"/>
                  <a:pt x="36862" y="154400"/>
                </a:cubicBezTo>
                <a:cubicBezTo>
                  <a:pt x="40291" y="156496"/>
                  <a:pt x="44196" y="158401"/>
                  <a:pt x="48768" y="160210"/>
                </a:cubicBezTo>
                <a:cubicBezTo>
                  <a:pt x="53245" y="161925"/>
                  <a:pt x="58674" y="162877"/>
                  <a:pt x="64961" y="162877"/>
                </a:cubicBezTo>
                <a:cubicBezTo>
                  <a:pt x="74105" y="162877"/>
                  <a:pt x="81249" y="160782"/>
                  <a:pt x="86297" y="156591"/>
                </a:cubicBezTo>
                <a:cubicBezTo>
                  <a:pt x="91345" y="152400"/>
                  <a:pt x="93821" y="146113"/>
                  <a:pt x="93821" y="137827"/>
                </a:cubicBezTo>
                <a:cubicBezTo>
                  <a:pt x="93821" y="133064"/>
                  <a:pt x="92583" y="129159"/>
                  <a:pt x="90107" y="126111"/>
                </a:cubicBezTo>
                <a:cubicBezTo>
                  <a:pt x="87630" y="123158"/>
                  <a:pt x="84392" y="120682"/>
                  <a:pt x="80296" y="118586"/>
                </a:cubicBezTo>
                <a:cubicBezTo>
                  <a:pt x="76295" y="116586"/>
                  <a:pt x="71724" y="114871"/>
                  <a:pt x="66485" y="113443"/>
                </a:cubicBezTo>
                <a:cubicBezTo>
                  <a:pt x="61341" y="112014"/>
                  <a:pt x="56007" y="110395"/>
                  <a:pt x="50578" y="108680"/>
                </a:cubicBezTo>
                <a:cubicBezTo>
                  <a:pt x="45149" y="106966"/>
                  <a:pt x="39815" y="104870"/>
                  <a:pt x="34671" y="102394"/>
                </a:cubicBezTo>
                <a:cubicBezTo>
                  <a:pt x="29528" y="99917"/>
                  <a:pt x="24956" y="96679"/>
                  <a:pt x="20860" y="92678"/>
                </a:cubicBezTo>
                <a:cubicBezTo>
                  <a:pt x="16859" y="88678"/>
                  <a:pt x="13621" y="83629"/>
                  <a:pt x="11049" y="77724"/>
                </a:cubicBezTo>
                <a:cubicBezTo>
                  <a:pt x="8573" y="71818"/>
                  <a:pt x="7334" y="64389"/>
                  <a:pt x="7334" y="55531"/>
                </a:cubicBezTo>
                <a:cubicBezTo>
                  <a:pt x="7334" y="48482"/>
                  <a:pt x="8763" y="41624"/>
                  <a:pt x="11525" y="34957"/>
                </a:cubicBezTo>
                <a:cubicBezTo>
                  <a:pt x="14288" y="28289"/>
                  <a:pt x="18479" y="22384"/>
                  <a:pt x="23813" y="17240"/>
                </a:cubicBezTo>
                <a:cubicBezTo>
                  <a:pt x="29242" y="12097"/>
                  <a:pt x="35909" y="7906"/>
                  <a:pt x="43815" y="4763"/>
                </a:cubicBezTo>
                <a:cubicBezTo>
                  <a:pt x="51721" y="1619"/>
                  <a:pt x="60770" y="0"/>
                  <a:pt x="71057" y="0"/>
                </a:cubicBezTo>
                <a:cubicBezTo>
                  <a:pt x="82487" y="0"/>
                  <a:pt x="93155" y="1810"/>
                  <a:pt x="102870" y="5334"/>
                </a:cubicBezTo>
                <a:cubicBezTo>
                  <a:pt x="112586" y="8858"/>
                  <a:pt x="120872" y="13811"/>
                  <a:pt x="127635" y="20098"/>
                </a:cubicBezTo>
                <a:lnTo>
                  <a:pt x="118205" y="3819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cxnSp>
        <p:nvCxnSpPr>
          <p:cNvPr id="48" name="Google Shape;2016;p32">
            <a:extLst>
              <a:ext uri="{FF2B5EF4-FFF2-40B4-BE49-F238E27FC236}">
                <a16:creationId xmlns:a16="http://schemas.microsoft.com/office/drawing/2014/main" id="{2D4995D5-D458-F914-FB30-29901F535774}"/>
              </a:ext>
            </a:extLst>
          </p:cNvPr>
          <p:cNvCxnSpPr/>
          <p:nvPr/>
        </p:nvCxnSpPr>
        <p:spPr>
          <a:xfrm>
            <a:off x="7326694" y="3676153"/>
            <a:ext cx="4391216" cy="1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9" name="Google Shape;2017;p32">
            <a:extLst>
              <a:ext uri="{FF2B5EF4-FFF2-40B4-BE49-F238E27FC236}">
                <a16:creationId xmlns:a16="http://schemas.microsoft.com/office/drawing/2014/main" id="{B03EA877-8086-E5D9-976C-706282280FF0}"/>
              </a:ext>
            </a:extLst>
          </p:cNvPr>
          <p:cNvCxnSpPr/>
          <p:nvPr/>
        </p:nvCxnSpPr>
        <p:spPr>
          <a:xfrm>
            <a:off x="465019" y="3676153"/>
            <a:ext cx="4391216" cy="0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0" name="Google Shape;2018;p32">
            <a:extLst>
              <a:ext uri="{FF2B5EF4-FFF2-40B4-BE49-F238E27FC236}">
                <a16:creationId xmlns:a16="http://schemas.microsoft.com/office/drawing/2014/main" id="{76966009-9226-0EF1-B196-8C44A1661201}"/>
              </a:ext>
            </a:extLst>
          </p:cNvPr>
          <p:cNvCxnSpPr/>
          <p:nvPr/>
        </p:nvCxnSpPr>
        <p:spPr>
          <a:xfrm>
            <a:off x="6096001" y="898506"/>
            <a:ext cx="0" cy="1537883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1" name="Google Shape;2019;p32">
            <a:extLst>
              <a:ext uri="{FF2B5EF4-FFF2-40B4-BE49-F238E27FC236}">
                <a16:creationId xmlns:a16="http://schemas.microsoft.com/office/drawing/2014/main" id="{67791CDD-6074-6D0F-FB8F-68FAF2D40FF2}"/>
              </a:ext>
            </a:extLst>
          </p:cNvPr>
          <p:cNvCxnSpPr/>
          <p:nvPr/>
        </p:nvCxnSpPr>
        <p:spPr>
          <a:xfrm>
            <a:off x="6096001" y="4912096"/>
            <a:ext cx="0" cy="1541704"/>
          </a:xfrm>
          <a:prstGeom prst="straightConnector1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" name="Slide Number Placeholder 2">
            <a:extLst>
              <a:ext uri="{FF2B5EF4-FFF2-40B4-BE49-F238E27FC236}">
                <a16:creationId xmlns:a16="http://schemas.microsoft.com/office/drawing/2014/main" id="{2F43C492-9C40-2F52-80BD-8D417B701C4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373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3</TotalTime>
  <Words>20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lide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92</cp:revision>
  <dcterms:created xsi:type="dcterms:W3CDTF">2021-03-31T02:49:57Z</dcterms:created>
  <dcterms:modified xsi:type="dcterms:W3CDTF">2025-10-16T10:55:32Z</dcterms:modified>
  <cp:category/>
</cp:coreProperties>
</file>